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3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A8B6DF-E366-CE85-F9D1-689A2C793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52A33A17-02C1-54EB-D59B-A90F87A82C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A33A17-02C1-54EB-D59B-A90F87A82C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E9A301-1AF5-860C-7B6C-79D91CB6B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9D91BA-27E9-5605-C69A-6038D82E7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B1D8E1B2-C4B5-E1A3-4B62-9DCAD383CC5A}"/>
              </a:ext>
            </a:extLst>
          </p:cNvPr>
          <p:cNvSpPr/>
          <p:nvPr/>
        </p:nvSpPr>
        <p:spPr>
          <a:xfrm flipV="1">
            <a:off x="1933452" y="2999068"/>
            <a:ext cx="576000" cy="336935"/>
          </a:xfrm>
          <a:prstGeom prst="round2SameRect">
            <a:avLst>
              <a:gd name="adj1" fmla="val 36365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5084357C-D758-B63C-9F1C-3AA8772ECCF7}"/>
              </a:ext>
            </a:extLst>
          </p:cNvPr>
          <p:cNvSpPr/>
          <p:nvPr/>
        </p:nvSpPr>
        <p:spPr>
          <a:xfrm flipV="1">
            <a:off x="1933452" y="5676852"/>
            <a:ext cx="576000" cy="336935"/>
          </a:xfrm>
          <a:prstGeom prst="round2SameRect">
            <a:avLst>
              <a:gd name="adj1" fmla="val 36365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C2B0E676-1FED-9DE0-05B4-ACBCED104A4C}"/>
              </a:ext>
            </a:extLst>
          </p:cNvPr>
          <p:cNvSpPr/>
          <p:nvPr/>
        </p:nvSpPr>
        <p:spPr>
          <a:xfrm flipV="1">
            <a:off x="7617552" y="2999068"/>
            <a:ext cx="576000" cy="336935"/>
          </a:xfrm>
          <a:prstGeom prst="round2SameRect">
            <a:avLst>
              <a:gd name="adj1" fmla="val 36365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AD007D3F-3C06-5A2E-E569-17FA4A1DCAA0}"/>
              </a:ext>
            </a:extLst>
          </p:cNvPr>
          <p:cNvSpPr/>
          <p:nvPr/>
        </p:nvSpPr>
        <p:spPr>
          <a:xfrm flipV="1">
            <a:off x="7617552" y="5676852"/>
            <a:ext cx="576000" cy="336935"/>
          </a:xfrm>
          <a:prstGeom prst="round2SameRect">
            <a:avLst>
              <a:gd name="adj1" fmla="val 36365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D5B52C9-A2F5-8201-56C0-5169581CBC07}"/>
              </a:ext>
            </a:extLst>
          </p:cNvPr>
          <p:cNvSpPr/>
          <p:nvPr/>
        </p:nvSpPr>
        <p:spPr>
          <a:xfrm>
            <a:off x="1797978" y="1623484"/>
            <a:ext cx="3892042" cy="1525952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B9C5BE9-96BB-6E1D-FD93-AD3AE69061C7}"/>
              </a:ext>
            </a:extLst>
          </p:cNvPr>
          <p:cNvSpPr/>
          <p:nvPr/>
        </p:nvSpPr>
        <p:spPr>
          <a:xfrm>
            <a:off x="858519" y="1289334"/>
            <a:ext cx="1433245" cy="2046669"/>
          </a:xfrm>
          <a:prstGeom prst="roundRect">
            <a:avLst>
              <a:gd name="adj" fmla="val 91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D232A38-7524-C3E8-0C14-05F8EB6E91F8}"/>
              </a:ext>
            </a:extLst>
          </p:cNvPr>
          <p:cNvSpPr/>
          <p:nvPr/>
        </p:nvSpPr>
        <p:spPr>
          <a:xfrm>
            <a:off x="1797978" y="4301268"/>
            <a:ext cx="3892042" cy="1525952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9248F63-F5D3-00DB-0E1C-2FDAE4B740FE}"/>
              </a:ext>
            </a:extLst>
          </p:cNvPr>
          <p:cNvSpPr/>
          <p:nvPr/>
        </p:nvSpPr>
        <p:spPr>
          <a:xfrm>
            <a:off x="858519" y="3967118"/>
            <a:ext cx="1433245" cy="2046669"/>
          </a:xfrm>
          <a:prstGeom prst="roundRect">
            <a:avLst>
              <a:gd name="adj" fmla="val 91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662F248-35F5-89D2-EB8D-2E69D6F156D3}"/>
              </a:ext>
            </a:extLst>
          </p:cNvPr>
          <p:cNvSpPr/>
          <p:nvPr/>
        </p:nvSpPr>
        <p:spPr>
          <a:xfrm>
            <a:off x="7482078" y="1623484"/>
            <a:ext cx="3892042" cy="1525952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967726F-1745-12E1-4F01-FAD4AECFACEE}"/>
              </a:ext>
            </a:extLst>
          </p:cNvPr>
          <p:cNvSpPr/>
          <p:nvPr/>
        </p:nvSpPr>
        <p:spPr>
          <a:xfrm>
            <a:off x="6542619" y="1289334"/>
            <a:ext cx="1433245" cy="2046669"/>
          </a:xfrm>
          <a:prstGeom prst="roundRect">
            <a:avLst>
              <a:gd name="adj" fmla="val 91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68319A0-ABD3-5040-0B53-B1CE54F05B1A}"/>
              </a:ext>
            </a:extLst>
          </p:cNvPr>
          <p:cNvSpPr/>
          <p:nvPr/>
        </p:nvSpPr>
        <p:spPr>
          <a:xfrm>
            <a:off x="7482078" y="4301268"/>
            <a:ext cx="3892042" cy="1525952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88D4688-C762-DB58-7031-80E8B0FC6186}"/>
              </a:ext>
            </a:extLst>
          </p:cNvPr>
          <p:cNvSpPr/>
          <p:nvPr/>
        </p:nvSpPr>
        <p:spPr>
          <a:xfrm>
            <a:off x="6542619" y="3967118"/>
            <a:ext cx="1433245" cy="2046669"/>
          </a:xfrm>
          <a:prstGeom prst="roundRect">
            <a:avLst>
              <a:gd name="adj" fmla="val 91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16411E-2726-D14D-3B02-AEF5156EC583}"/>
              </a:ext>
            </a:extLst>
          </p:cNvPr>
          <p:cNvSpPr txBox="1"/>
          <p:nvPr/>
        </p:nvSpPr>
        <p:spPr>
          <a:xfrm>
            <a:off x="1305141" y="1565508"/>
            <a:ext cx="540000" cy="40626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IN" sz="2000" dirty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3425FB-AADC-292F-CBB6-78425F7D8536}"/>
              </a:ext>
            </a:extLst>
          </p:cNvPr>
          <p:cNvSpPr txBox="1"/>
          <p:nvPr/>
        </p:nvSpPr>
        <p:spPr>
          <a:xfrm>
            <a:off x="6989241" y="1565508"/>
            <a:ext cx="540000" cy="40626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IN" sz="2000" dirty="0">
                <a:solidFill>
                  <a:schemeClr val="bg1"/>
                </a:solidFill>
                <a:cs typeface="Arial" panose="020B0604020202020204" pitchFamily="34" charset="0"/>
              </a:rPr>
              <a:t>0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9F9C7C-0A35-A838-C6DC-8B3BAD18848A}"/>
              </a:ext>
            </a:extLst>
          </p:cNvPr>
          <p:cNvSpPr txBox="1"/>
          <p:nvPr/>
        </p:nvSpPr>
        <p:spPr>
          <a:xfrm>
            <a:off x="1305141" y="4243292"/>
            <a:ext cx="540000" cy="40626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IN" sz="2000" dirty="0">
                <a:solidFill>
                  <a:schemeClr val="bg1"/>
                </a:solidFill>
                <a:cs typeface="Arial" panose="020B0604020202020204" pitchFamily="34" charset="0"/>
              </a:rPr>
              <a:t>0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0A9FBBC-7366-0D61-D43D-54BF3EE08AC9}"/>
              </a:ext>
            </a:extLst>
          </p:cNvPr>
          <p:cNvSpPr txBox="1"/>
          <p:nvPr/>
        </p:nvSpPr>
        <p:spPr>
          <a:xfrm>
            <a:off x="6989241" y="4243292"/>
            <a:ext cx="540000" cy="40626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IN" sz="2000" dirty="0">
                <a:solidFill>
                  <a:schemeClr val="bg1"/>
                </a:solidFill>
                <a:cs typeface="Arial" panose="020B0604020202020204" pitchFamily="34" charset="0"/>
              </a:rPr>
              <a:t>04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D49778-3A3B-8452-E8AC-01A9211279BC}"/>
              </a:ext>
            </a:extLst>
          </p:cNvPr>
          <p:cNvCxnSpPr>
            <a:cxnSpLocks/>
          </p:cNvCxnSpPr>
          <p:nvPr/>
        </p:nvCxnSpPr>
        <p:spPr>
          <a:xfrm>
            <a:off x="1403197" y="2103853"/>
            <a:ext cx="3438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6ED50E5-8C1A-8ED0-5272-548A8611C40F}"/>
              </a:ext>
            </a:extLst>
          </p:cNvPr>
          <p:cNvCxnSpPr>
            <a:cxnSpLocks/>
          </p:cNvCxnSpPr>
          <p:nvPr/>
        </p:nvCxnSpPr>
        <p:spPr>
          <a:xfrm>
            <a:off x="7087297" y="2103853"/>
            <a:ext cx="3438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B0924D2-4AED-E684-79A3-EC8351CCEB3B}"/>
              </a:ext>
            </a:extLst>
          </p:cNvPr>
          <p:cNvCxnSpPr>
            <a:cxnSpLocks/>
          </p:cNvCxnSpPr>
          <p:nvPr/>
        </p:nvCxnSpPr>
        <p:spPr>
          <a:xfrm>
            <a:off x="1403197" y="4781637"/>
            <a:ext cx="3438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27BBD2F-80BC-6532-855C-AD38B70D59B9}"/>
              </a:ext>
            </a:extLst>
          </p:cNvPr>
          <p:cNvCxnSpPr>
            <a:cxnSpLocks/>
          </p:cNvCxnSpPr>
          <p:nvPr/>
        </p:nvCxnSpPr>
        <p:spPr>
          <a:xfrm>
            <a:off x="7087297" y="4781637"/>
            <a:ext cx="3438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BD2335B-7F03-EAFE-2D61-F05F412F0642}"/>
              </a:ext>
            </a:extLst>
          </p:cNvPr>
          <p:cNvSpPr txBox="1">
            <a:spLocks/>
          </p:cNvSpPr>
          <p:nvPr/>
        </p:nvSpPr>
        <p:spPr>
          <a:xfrm>
            <a:off x="2427432" y="2160109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0A20540-1E17-A6CE-854D-C1B183C12F9E}"/>
              </a:ext>
            </a:extLst>
          </p:cNvPr>
          <p:cNvSpPr txBox="1">
            <a:spLocks/>
          </p:cNvSpPr>
          <p:nvPr/>
        </p:nvSpPr>
        <p:spPr>
          <a:xfrm>
            <a:off x="2427432" y="483789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0318D327-6852-F7AA-01B8-84CF5788A71D}"/>
              </a:ext>
            </a:extLst>
          </p:cNvPr>
          <p:cNvSpPr txBox="1">
            <a:spLocks/>
          </p:cNvSpPr>
          <p:nvPr/>
        </p:nvSpPr>
        <p:spPr>
          <a:xfrm>
            <a:off x="8111338" y="2160109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8F3D173-54A3-3BC4-C5C7-0D389F12E0AF}"/>
              </a:ext>
            </a:extLst>
          </p:cNvPr>
          <p:cNvSpPr txBox="1">
            <a:spLocks/>
          </p:cNvSpPr>
          <p:nvPr/>
        </p:nvSpPr>
        <p:spPr>
          <a:xfrm>
            <a:off x="8111338" y="4837893"/>
            <a:ext cx="2982768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1800" b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2D3DD82-EB15-2A54-A378-52D194CA074F}"/>
              </a:ext>
            </a:extLst>
          </p:cNvPr>
          <p:cNvSpPr txBox="1">
            <a:spLocks/>
          </p:cNvSpPr>
          <p:nvPr/>
        </p:nvSpPr>
        <p:spPr>
          <a:xfrm>
            <a:off x="1195528" y="2306623"/>
            <a:ext cx="759227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DFDC06E-1669-5D82-A4DB-A27355F14173}"/>
              </a:ext>
            </a:extLst>
          </p:cNvPr>
          <p:cNvSpPr txBox="1">
            <a:spLocks/>
          </p:cNvSpPr>
          <p:nvPr/>
        </p:nvSpPr>
        <p:spPr>
          <a:xfrm>
            <a:off x="1195528" y="4984407"/>
            <a:ext cx="759227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716B653-C984-0FDC-2136-69EF63C35F64}"/>
              </a:ext>
            </a:extLst>
          </p:cNvPr>
          <p:cNvSpPr txBox="1">
            <a:spLocks/>
          </p:cNvSpPr>
          <p:nvPr/>
        </p:nvSpPr>
        <p:spPr>
          <a:xfrm>
            <a:off x="6879628" y="2306623"/>
            <a:ext cx="759227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96B46BA-C77C-71B3-231B-3F61407D6FCE}"/>
              </a:ext>
            </a:extLst>
          </p:cNvPr>
          <p:cNvSpPr txBox="1">
            <a:spLocks/>
          </p:cNvSpPr>
          <p:nvPr/>
        </p:nvSpPr>
        <p:spPr>
          <a:xfrm>
            <a:off x="6879628" y="4984407"/>
            <a:ext cx="759227" cy="45270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 defTabSz="54864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  <a:buClr>
                <a:srgbClr val="00ADCA"/>
              </a:buClr>
              <a:buFont typeface="Arial"/>
              <a:buNone/>
              <a:defRPr lang="en-US" sz="3200" b="1" kern="1200" cap="none" baseline="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352425" indent="-323850" algn="l" defTabSz="54864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charset="0"/>
              <a:buChar char="•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marL="973138" indent="-309563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marL="1547813" indent="-382588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/>
              <a:buChar char="–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290763" indent="-371475" algn="l" defTabSz="54864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.AppleSystemUIFont" charset="-120"/>
              <a:buChar char="-"/>
              <a:tabLst/>
              <a:defRPr sz="32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01752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92682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6</TotalTime>
  <Words>22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504</cp:revision>
  <dcterms:created xsi:type="dcterms:W3CDTF">2021-03-31T02:49:57Z</dcterms:created>
  <dcterms:modified xsi:type="dcterms:W3CDTF">2025-10-16T11:11:26Z</dcterms:modified>
  <cp:category/>
</cp:coreProperties>
</file>